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5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677" r:id="rId3"/>
    <p:sldMasterId id="2147483687" r:id="rId4"/>
  </p:sldMasterIdLst>
  <p:notesMasterIdLst>
    <p:notesMasterId r:id="rId10"/>
  </p:notesMasterIdLst>
  <p:sldIdLst>
    <p:sldId id="257" r:id="rId5"/>
    <p:sldId id="263" r:id="rId6"/>
    <p:sldId id="307" r:id="rId7"/>
    <p:sldId id="259" r:id="rId8"/>
    <p:sldId id="306" r:id="rId9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199099-6C3D-4F33-A3FE-BEE4E10DA8C7}" v="685" dt="2018-10-01T09:19:14.6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691" autoAdjust="0"/>
    <p:restoredTop sz="94660"/>
  </p:normalViewPr>
  <p:slideViewPr>
    <p:cSldViewPr snapToGrid="0">
      <p:cViewPr varScale="1">
        <p:scale>
          <a:sx n="68" d="100"/>
          <a:sy n="68" d="100"/>
        </p:scale>
        <p:origin x="93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nnon, Daniel" userId="2af486b3-f090-469d-a2a0-4cf2b635f12d" providerId="ADAL" clId="{CB093606-C008-4DF1-A9AE-F39664C5FB82}"/>
    <pc:docChg chg="custSel modSld">
      <pc:chgData name="Cannon, Daniel" userId="2af486b3-f090-469d-a2a0-4cf2b635f12d" providerId="ADAL" clId="{CB093606-C008-4DF1-A9AE-F39664C5FB82}" dt="2018-10-01T09:19:14.612" v="684" actId="20577"/>
      <pc:docMkLst>
        <pc:docMk/>
      </pc:docMkLst>
      <pc:sldChg chg="modSp">
        <pc:chgData name="Cannon, Daniel" userId="2af486b3-f090-469d-a2a0-4cf2b635f12d" providerId="ADAL" clId="{CB093606-C008-4DF1-A9AE-F39664C5FB82}" dt="2018-10-01T08:09:29.794" v="7" actId="20577"/>
        <pc:sldMkLst>
          <pc:docMk/>
          <pc:sldMk cId="80406703" sldId="257"/>
        </pc:sldMkLst>
        <pc:spChg chg="mod">
          <ac:chgData name="Cannon, Daniel" userId="2af486b3-f090-469d-a2a0-4cf2b635f12d" providerId="ADAL" clId="{CB093606-C008-4DF1-A9AE-F39664C5FB82}" dt="2018-10-01T08:09:29.794" v="7" actId="20577"/>
          <ac:spMkLst>
            <pc:docMk/>
            <pc:sldMk cId="80406703" sldId="257"/>
            <ac:spMk id="3" creationId="{58D476F6-2F67-47CD-80E0-2DB34AA0C653}"/>
          </ac:spMkLst>
        </pc:spChg>
      </pc:sldChg>
      <pc:sldChg chg="modSp">
        <pc:chgData name="Cannon, Daniel" userId="2af486b3-f090-469d-a2a0-4cf2b635f12d" providerId="ADAL" clId="{CB093606-C008-4DF1-A9AE-F39664C5FB82}" dt="2018-10-01T09:19:14.612" v="684" actId="20577"/>
        <pc:sldMkLst>
          <pc:docMk/>
          <pc:sldMk cId="3191583227" sldId="259"/>
        </pc:sldMkLst>
        <pc:spChg chg="mod">
          <ac:chgData name="Cannon, Daniel" userId="2af486b3-f090-469d-a2a0-4cf2b635f12d" providerId="ADAL" clId="{CB093606-C008-4DF1-A9AE-F39664C5FB82}" dt="2018-10-01T09:19:14.612" v="684" actId="20577"/>
          <ac:spMkLst>
            <pc:docMk/>
            <pc:sldMk cId="3191583227" sldId="259"/>
            <ac:spMk id="5" creationId="{8896F1A6-68BB-4261-828C-7210F2EC6EBB}"/>
          </ac:spMkLst>
        </pc:spChg>
      </pc:sldChg>
      <pc:sldChg chg="modSp">
        <pc:chgData name="Cannon, Daniel" userId="2af486b3-f090-469d-a2a0-4cf2b635f12d" providerId="ADAL" clId="{CB093606-C008-4DF1-A9AE-F39664C5FB82}" dt="2018-10-01T08:28:17.571" v="663" actId="6549"/>
        <pc:sldMkLst>
          <pc:docMk/>
          <pc:sldMk cId="4159481928" sldId="306"/>
        </pc:sldMkLst>
        <pc:spChg chg="mod">
          <ac:chgData name="Cannon, Daniel" userId="2af486b3-f090-469d-a2a0-4cf2b635f12d" providerId="ADAL" clId="{CB093606-C008-4DF1-A9AE-F39664C5FB82}" dt="2018-10-01T08:28:17.571" v="663" actId="6549"/>
          <ac:spMkLst>
            <pc:docMk/>
            <pc:sldMk cId="4159481928" sldId="306"/>
            <ac:spMk id="4" creationId="{9B32FAAF-4A79-4332-9317-3236720C6EF6}"/>
          </ac:spMkLst>
        </pc:spChg>
      </pc:sldChg>
      <pc:sldChg chg="modSp">
        <pc:chgData name="Cannon, Daniel" userId="2af486b3-f090-469d-a2a0-4cf2b635f12d" providerId="ADAL" clId="{CB093606-C008-4DF1-A9AE-F39664C5FB82}" dt="2018-10-01T08:15:45.068" v="232" actId="20577"/>
        <pc:sldMkLst>
          <pc:docMk/>
          <pc:sldMk cId="2287192052" sldId="307"/>
        </pc:sldMkLst>
        <pc:spChg chg="mod">
          <ac:chgData name="Cannon, Daniel" userId="2af486b3-f090-469d-a2a0-4cf2b635f12d" providerId="ADAL" clId="{CB093606-C008-4DF1-A9AE-F39664C5FB82}" dt="2018-10-01T08:15:45.068" v="232" actId="20577"/>
          <ac:spMkLst>
            <pc:docMk/>
            <pc:sldMk cId="2287192052" sldId="307"/>
            <ac:spMk id="3" creationId="{A64502EF-26BF-48C0-9AC6-4220E0149DB7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55EE05-B882-45A5-AAA9-2BB164E9F068}" type="datetimeFigureOut">
              <a:rPr lang="en-GB" smtClean="0"/>
              <a:t>01/10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E2BFA0-C735-4BA5-BAD9-7E715CD901D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6713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2139437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99728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45163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333065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663205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2010606"/>
            <a:ext cx="5543551" cy="444258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F279807-494A-45DD-A5C6-24F625316B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0465" y="2010606"/>
            <a:ext cx="5516444" cy="444137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7" y="1420990"/>
            <a:ext cx="5543551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0465" y="1420990"/>
            <a:ext cx="5516444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6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100000"/>
              </a:lnSpc>
            </a:pPr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>
                <a:lnSpc>
                  <a:spcPct val="100000"/>
                </a:lnSpc>
              </a:p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100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Unilever | Feb 2018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370582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C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837366" y="6356357"/>
            <a:ext cx="1106310" cy="349251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825ADB62-1429-C14C-A270-95B078A656ED}" type="slidenum">
              <a:rPr lang="en-US" smtClean="0">
                <a:solidFill>
                  <a:srgbClr val="858585"/>
                </a:solidFill>
              </a:rPr>
              <a:pPr/>
              <a:t>‹#›</a:t>
            </a:fld>
            <a:endParaRPr lang="en-US" dirty="0">
              <a:solidFill>
                <a:srgbClr val="858585"/>
              </a:solidFill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2"/>
          </p:nvPr>
        </p:nvSpPr>
        <p:spPr>
          <a:xfrm>
            <a:off x="7951073" y="6342260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451FAC7D-F680-41BB-8855-5FE28808ADB5}" type="datetime1">
              <a:rPr lang="en-US" smtClean="0">
                <a:solidFill>
                  <a:srgbClr val="858585"/>
                </a:solidFill>
              </a:rPr>
              <a:pPr/>
              <a:t>10/1/2018</a:t>
            </a:fld>
            <a:endParaRPr lang="en-US" dirty="0">
              <a:solidFill>
                <a:srgbClr val="858585"/>
              </a:solidFill>
            </a:endParaRPr>
          </a:p>
        </p:txBody>
      </p:sp>
      <p:sp>
        <p:nvSpPr>
          <p:cNvPr id="8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069393" y="633944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858585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1819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296238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6450254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2182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16318300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8652926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52092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7434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9185086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58942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20836414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0299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42286077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07160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83628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>
              <a:latin typeface="Calibri" panose="020F0502020204030204" pitchFamily="34" charset="0"/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31526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165025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page with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31801" y="1792974"/>
            <a:ext cx="11084078" cy="4588354"/>
          </a:xfrm>
        </p:spPr>
        <p:txBody>
          <a:bodyPr/>
          <a:lstStyle>
            <a:lvl1pPr algn="l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lang="en-US" sz="12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2717" indent="-180957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893674" indent="-180957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 marL="1074631" indent="-180957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431801" y="1032038"/>
            <a:ext cx="11424839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9347200" y="6713541"/>
            <a:ext cx="2844800" cy="149225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FE18414C-AFB7-479D-8D57-D06F8146E9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1328664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96DFF08F-DC6B-4601-B491-B0F83F6DD2DA}" type="datetimeFigureOut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6788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1786614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orient="horz" pos="9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9BACF5-47AC-4128-9A15-1F29340518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91073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47379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25144065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61985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1663086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vmlDrawing" Target="../drawings/vmlDrawing6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oleObject" Target="../embeddings/oleObject6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oleObject" Target="../embeddings/oleObject10.bin"/><Relationship Id="rId5" Type="http://schemas.openxmlformats.org/officeDocument/2006/relationships/slideLayout" Target="../slideLayouts/slideLayout20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19.xml"/><Relationship Id="rId9" Type="http://schemas.openxmlformats.org/officeDocument/2006/relationships/vmlDrawing" Target="../drawings/vmlDrawing10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oleObject" Target="../embeddings/oleObject13.bin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ags" Target="../tags/tag1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vmlDrawing" Target="../drawings/vmlDrawing13.vml"/><Relationship Id="rId5" Type="http://schemas.openxmlformats.org/officeDocument/2006/relationships/slideLayout" Target="../slideLayouts/slideLayout27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6034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85" r:id="rId5"/>
  </p:sldLayoutIdLst>
  <p:hf hdr="0" ft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8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lockchain Intercompany &amp; FCCR | UL TIO | June 2018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824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Blockchain Intercompany &amp; FCCR | UL TIO | June 2018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755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anose="020F0502020204030204" pitchFamily="34" charset="0"/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Calibri" panose="020F0502020204030204" pitchFamily="34" charset="0"/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806172" y="6650661"/>
            <a:ext cx="121828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© Capgemini 2018. All rights reserved  </a:t>
            </a:r>
            <a:r>
              <a:rPr lang="en-US" dirty="0">
                <a:solidFill>
                  <a:schemeClr val="accent2"/>
                </a:solidFill>
                <a:latin typeface="Calibri" panose="020F0502020204030204" pitchFamily="34" charset="0"/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513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Calibri" panose="020F05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D957A2-3158-46DF-AA55-1DB282C2E23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Sprint Plann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8D476F6-2F67-47CD-80E0-2DB34AA0C65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01/10/18</a:t>
            </a:r>
          </a:p>
        </p:txBody>
      </p:sp>
    </p:spTree>
    <p:extLst>
      <p:ext uri="{BB962C8B-B14F-4D97-AF65-F5344CB8AC3E}">
        <p14:creationId xmlns:p14="http://schemas.microsoft.com/office/powerpoint/2010/main" val="804067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1F90C0F-FBF6-49F7-824E-0E8112D0AB5B}"/>
              </a:ext>
            </a:extLst>
          </p:cNvPr>
          <p:cNvSpPr/>
          <p:nvPr/>
        </p:nvSpPr>
        <p:spPr>
          <a:xfrm>
            <a:off x="535137" y="3854121"/>
            <a:ext cx="5369053" cy="163726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he Agile Manifesto states that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dividuals and interactions over processes and tool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orking software over comprehensive document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ustomer collaboration over contract negoti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sponding to change over following a plan</a:t>
            </a:r>
          </a:p>
        </p:txBody>
      </p:sp>
      <p:pic>
        <p:nvPicPr>
          <p:cNvPr id="6146" name="Picture 2" descr="http://1.bp.blogspot.com/-GpKn_skNjXE/T-q-6cUmSJI/AAAAAAAAACg/av7BTBDt28g/s1600/Srum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4775" y="1651297"/>
            <a:ext cx="5630710" cy="4083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60C174F-94CA-4044-8556-222E9EA366E6}"/>
              </a:ext>
            </a:extLst>
          </p:cNvPr>
          <p:cNvSpPr/>
          <p:nvPr/>
        </p:nvSpPr>
        <p:spPr>
          <a:xfrm>
            <a:off x="451715" y="1791731"/>
            <a:ext cx="5369053" cy="163726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gile is a group of development methodologies based on iterative developmen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quirements and solutions evolve through collaboration between self-organizing cross-functional team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ncourages teamwork, self-organization and accountability</a:t>
            </a:r>
          </a:p>
        </p:txBody>
      </p:sp>
      <p:sp>
        <p:nvSpPr>
          <p:cNvPr id="4" name="Rectangle 3"/>
          <p:cNvSpPr/>
          <p:nvPr/>
        </p:nvSpPr>
        <p:spPr>
          <a:xfrm>
            <a:off x="9376229" y="5573486"/>
            <a:ext cx="957942" cy="6821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97B179-5B88-43B3-A884-15D2C0914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Agile and what are SCRUM ceremonies?</a:t>
            </a:r>
          </a:p>
        </p:txBody>
      </p:sp>
    </p:spTree>
    <p:extLst>
      <p:ext uri="{BB962C8B-B14F-4D97-AF65-F5344CB8AC3E}">
        <p14:creationId xmlns:p14="http://schemas.microsoft.com/office/powerpoint/2010/main" val="1334003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C8C19-CC59-4230-8707-3131FF159D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eatures for develop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4502EF-26BF-48C0-9AC6-4220E0149D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4651" y="1049482"/>
            <a:ext cx="11700000" cy="5462154"/>
          </a:xfrm>
        </p:spPr>
        <p:txBody>
          <a:bodyPr>
            <a:normAutofit/>
          </a:bodyPr>
          <a:lstStyle/>
          <a:p>
            <a:r>
              <a:rPr lang="en-GB" u="sng" dirty="0"/>
              <a:t>IC Blockcha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G/L account valid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&lt;€2k excep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CO admin workaround for exceptions (2 and 23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WHT exception comple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R Request preview pa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71920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82DA12-E30B-4371-88B1-62D7C6380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print Goal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8896F1A6-68BB-4261-828C-7210F2EC6EBB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>
          <a:xfrm>
            <a:off x="227013" y="1104900"/>
            <a:ext cx="11699875" cy="5610225"/>
          </a:xfrm>
          <a:prstGeom prst="rect">
            <a:avLst/>
          </a:prstGeom>
        </p:spPr>
        <p:txBody>
          <a:bodyPr vert="horz" lIns="0" tIns="0" rIns="0" bIns="0" numCol="2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GB" dirty="0"/>
              <a:t>IC Blockchain 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GB" dirty="0"/>
              <a:t>GL account will be validated against master data when submitting IC form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GB" dirty="0"/>
              <a:t>Exceptions: </a:t>
            </a:r>
          </a:p>
          <a:p>
            <a:pPr marL="787400" lvl="2" indent="-342900"/>
            <a:r>
              <a:rPr lang="en-GB"/>
              <a:t>WHT completion (x2), MCO admin (5 and 25), </a:t>
            </a:r>
            <a:r>
              <a:rPr lang="en-GB" dirty="0"/>
              <a:t>&lt;€2k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GB" dirty="0"/>
              <a:t>Request preview page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GB" dirty="0"/>
              <a:t>Input file for RPA to read</a:t>
            </a:r>
          </a:p>
          <a:p>
            <a:pPr marL="342900" indent="-342900"/>
            <a:endParaRPr lang="en-GB" dirty="0"/>
          </a:p>
          <a:p>
            <a:pPr lvl="1"/>
            <a:r>
              <a:rPr lang="en-GB" dirty="0"/>
              <a:t>FCCR development</a:t>
            </a:r>
          </a:p>
          <a:p>
            <a:pPr marL="342900" indent="-342900"/>
            <a:endParaRPr lang="en-GB" dirty="0"/>
          </a:p>
          <a:p>
            <a:pPr lvl="1"/>
            <a:r>
              <a:rPr lang="en-GB" dirty="0"/>
              <a:t>Infrastructure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GB" b="1" dirty="0"/>
              <a:t>Complete Dev Environment setup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GB" dirty="0"/>
              <a:t>SharePoint access and API calling complete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lvl="1"/>
            <a:r>
              <a:rPr lang="en-GB" dirty="0"/>
              <a:t>RPA 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GB" dirty="0"/>
              <a:t>Credentials for robots (to be completed)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GB" dirty="0"/>
              <a:t>PDD and SDD review with UL (IC)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GB" dirty="0"/>
              <a:t>SDDs for FCCR reviewed with business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GB" dirty="0"/>
              <a:t>Confirm master data template for IC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GB" dirty="0"/>
              <a:t>Exceptions design for IC incorporated to SDD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GB" dirty="0"/>
              <a:t>SDD completion – AR and AP Posting IC 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GB" dirty="0"/>
              <a:t>FCCR PDDs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GB" dirty="0"/>
              <a:t>Change </a:t>
            </a:r>
            <a:r>
              <a:rPr lang="en-GB" dirty="0" err="1"/>
              <a:t>Mgt</a:t>
            </a:r>
            <a:endParaRPr lang="en-GB" dirty="0"/>
          </a:p>
          <a:p>
            <a:pPr marL="787400" lvl="2" indent="-342900"/>
            <a:r>
              <a:rPr lang="en-GB" dirty="0"/>
              <a:t>Next review with IC Aditya</a:t>
            </a:r>
          </a:p>
          <a:p>
            <a:pPr marL="787400" lvl="2" indent="-342900"/>
            <a:r>
              <a:rPr lang="en-GB" dirty="0"/>
              <a:t>Walk through planned with IC stakeholders including Demo</a:t>
            </a:r>
          </a:p>
          <a:p>
            <a:pPr marL="787400" lvl="2" indent="-342900"/>
            <a:r>
              <a:rPr lang="en-GB" dirty="0"/>
              <a:t>Review of approach with FCCR stakeholders</a:t>
            </a:r>
          </a:p>
          <a:p>
            <a:pPr marL="787400" lvl="2" indent="-342900"/>
            <a:endParaRPr lang="en-GB" dirty="0"/>
          </a:p>
          <a:p>
            <a:pPr lvl="1">
              <a:defRPr/>
            </a:pPr>
            <a:endParaRPr lang="en-GB" dirty="0"/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endParaRPr lang="en-GB" dirty="0"/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15832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E0864C-C07B-40D2-9FCF-4222B5101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ctions / Prioriti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3D3BC67-DBFE-40BB-983B-28219DD516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1868557"/>
            <a:ext cx="11700000" cy="4341742"/>
          </a:xfrm>
        </p:spPr>
        <p:txBody>
          <a:bodyPr>
            <a:normAutofit/>
          </a:bodyPr>
          <a:lstStyle/>
          <a:p>
            <a:pPr marL="609600" lvl="1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B32FAAF-4A79-4332-9317-3236720C6EF6}"/>
              </a:ext>
            </a:extLst>
          </p:cNvPr>
          <p:cNvSpPr txBox="1">
            <a:spLocks/>
          </p:cNvSpPr>
          <p:nvPr/>
        </p:nvSpPr>
        <p:spPr>
          <a:xfrm>
            <a:off x="227349" y="1104900"/>
            <a:ext cx="11700000" cy="57531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52450" lvl="1" indent="-285750"/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41594819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vert="horz" lIns="35941" tIns="35941" rIns="35941" bIns="35941" rtlCol="0" anchor="t">
        <a:noAutofit/>
      </a:bodyPr>
      <a:lstStyle>
        <a:defPPr marL="342900" indent="-342900" algn="l">
          <a:buClr>
            <a:srgbClr val="B10034"/>
          </a:buClr>
          <a:buSzPct val="80000"/>
          <a:buFont typeface="Wingdings" panose="05000000000000000000" pitchFamily="2" charset="2"/>
          <a:buChar char="n"/>
          <a:defRPr sz="1400" smtClean="0">
            <a:solidFill>
              <a:srgbClr val="484848"/>
            </a:solidFill>
            <a:latin typeface="Calibri" panose="020F0502020204030204" pitchFamily="34" charset="0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484848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pt-template.potx" id="{6288A6B4-8D07-4938-A82F-A0093CB90658}" vid="{01A55E89-FC83-4782-8FAE-7DDB55FEF934}"/>
    </a:ext>
  </a:extLst>
</a:theme>
</file>

<file path=ppt/theme/theme2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">
        <a:dk1>
          <a:srgbClr val="000000"/>
        </a:dk1>
        <a:lt1>
          <a:srgbClr val="FFFFFF"/>
        </a:lt1>
        <a:dk2>
          <a:srgbClr val="484848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pt-template.potx" id="{6288A6B4-8D07-4938-A82F-A0093CB90658}" vid="{E773FF80-0C60-4FD3-859A-2513E72AB802}"/>
    </a:ext>
  </a:extLst>
</a:theme>
</file>

<file path=ppt/theme/theme3.xml><?xml version="1.0" encoding="utf-8"?>
<a:theme xmlns:a="http://schemas.openxmlformats.org/drawingml/2006/main" name="1_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  -  Read-Only" id="{606B0086-9724-4D30-9E61-F70D68582A98}" vid="{0F8D7AF1-E772-4562-A982-520C00FBAFBE}"/>
    </a:ext>
  </a:extLst>
</a:theme>
</file>

<file path=ppt/theme/theme4.xml><?xml version="1.0" encoding="utf-8"?>
<a:theme xmlns:a="http://schemas.openxmlformats.org/drawingml/2006/main" name="2_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  -  Read-Only" id="{606B0086-9724-4D30-9E61-F70D68582A98}" vid="{0F8D7AF1-E772-4562-A982-520C00FBAFBE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rcompanyFCCRv0.7</Template>
  <TotalTime>20535</TotalTime>
  <Words>206</Words>
  <Application>Microsoft Office PowerPoint</Application>
  <PresentationFormat>Widescreen</PresentationFormat>
  <Paragraphs>49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rial</vt:lpstr>
      <vt:lpstr>Calibri</vt:lpstr>
      <vt:lpstr>Tahoma</vt:lpstr>
      <vt:lpstr>Verdana</vt:lpstr>
      <vt:lpstr>Wingdings</vt:lpstr>
      <vt:lpstr>Cover options</vt:lpstr>
      <vt:lpstr>Capgemini Master</vt:lpstr>
      <vt:lpstr>1_Capgemini Master</vt:lpstr>
      <vt:lpstr>2_Capgemini Master</vt:lpstr>
      <vt:lpstr>think-cell Slide</vt:lpstr>
      <vt:lpstr>Sprint Planning</vt:lpstr>
      <vt:lpstr>What is Agile and what are SCRUM ceremonies?</vt:lpstr>
      <vt:lpstr>Features for development</vt:lpstr>
      <vt:lpstr>Sprint Goal</vt:lpstr>
      <vt:lpstr>Actions / Prioriti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rint Planning</dc:title>
  <dc:creator>Cannon, Daniel</dc:creator>
  <cp:lastModifiedBy>Patil, Sachin</cp:lastModifiedBy>
  <cp:revision>23</cp:revision>
  <dcterms:created xsi:type="dcterms:W3CDTF">2018-08-13T08:28:45Z</dcterms:created>
  <dcterms:modified xsi:type="dcterms:W3CDTF">2018-10-01T10:56:43Z</dcterms:modified>
</cp:coreProperties>
</file>